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61" r:id="rId2"/>
  </p:sldIdLst>
  <p:sldSz cx="7556500" cy="10693400"/>
  <p:notesSz cx="6858000" cy="9144000"/>
  <p:embeddedFontLst>
    <p:embeddedFont>
      <p:font typeface="Public Sans" pitchFamily="2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362B"/>
    <a:srgbClr val="B32A1E"/>
    <a:srgbClr val="AD180C"/>
    <a:srgbClr val="BE497F"/>
    <a:srgbClr val="D249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2496" y="1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1D15F-43D5-4D4D-974E-B547D25B8594}" type="datetimeFigureOut">
              <a:rPr lang="en-US" smtClean="0"/>
              <a:t>11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496D88-BE85-413D-996C-66ED8DD235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39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4th of July Potluck #3">
            <a:extLst>
              <a:ext uri="{FF2B5EF4-FFF2-40B4-BE49-F238E27FC236}">
                <a16:creationId xmlns:a16="http://schemas.microsoft.com/office/drawing/2014/main" id="{8594B983-0D88-8DCB-0E61-D6A13E61AF25}"/>
              </a:ext>
            </a:extLst>
          </p:cNvPr>
          <p:cNvGrpSpPr/>
          <p:nvPr/>
        </p:nvGrpSpPr>
        <p:grpSpPr>
          <a:xfrm>
            <a:off x="-1915798" y="-921871"/>
            <a:ext cx="10716653" cy="11489198"/>
            <a:chOff x="-1915798" y="-921871"/>
            <a:chExt cx="10716653" cy="1148919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8684647-B93A-E5AA-4567-635804CF12E0}"/>
                </a:ext>
              </a:extLst>
            </p:cNvPr>
            <p:cNvGrpSpPr/>
            <p:nvPr/>
          </p:nvGrpSpPr>
          <p:grpSpPr>
            <a:xfrm>
              <a:off x="-1915798" y="-921871"/>
              <a:ext cx="10716653" cy="11489198"/>
              <a:chOff x="-1915798" y="-921871"/>
              <a:chExt cx="10716653" cy="1148919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594EE8C-8663-9523-A352-912EC0D5CBB1}"/>
                  </a:ext>
                </a:extLst>
              </p:cNvPr>
              <p:cNvGrpSpPr/>
              <p:nvPr/>
            </p:nvGrpSpPr>
            <p:grpSpPr>
              <a:xfrm>
                <a:off x="-1915798" y="-921871"/>
                <a:ext cx="10716653" cy="11489198"/>
                <a:chOff x="-1915798" y="-921871"/>
                <a:chExt cx="10716653" cy="11489198"/>
              </a:xfrm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AC2CE72B-4E8F-13F7-F420-10B40A36D39D}"/>
                    </a:ext>
                  </a:extLst>
                </p:cNvPr>
                <p:cNvSpPr/>
                <p:nvPr/>
              </p:nvSpPr>
              <p:spPr>
                <a:xfrm rot="19302863">
                  <a:off x="-1201403" y="2577819"/>
                  <a:ext cx="9672932" cy="520462"/>
                </a:xfrm>
                <a:custGeom>
                  <a:avLst/>
                  <a:gdLst>
                    <a:gd name="connsiteX0" fmla="*/ 9087374 w 9672932"/>
                    <a:gd name="connsiteY0" fmla="*/ 0 h 520462"/>
                    <a:gd name="connsiteX1" fmla="*/ 9672932 w 9672932"/>
                    <a:gd name="connsiteY1" fmla="*/ 462208 h 520462"/>
                    <a:gd name="connsiteX2" fmla="*/ 9626950 w 9672932"/>
                    <a:gd name="connsiteY2" fmla="*/ 520462 h 520462"/>
                    <a:gd name="connsiteX3" fmla="*/ 0 w 9672932"/>
                    <a:gd name="connsiteY3" fmla="*/ 520462 h 520462"/>
                    <a:gd name="connsiteX4" fmla="*/ 410824 w 9672932"/>
                    <a:gd name="connsiteY4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72932" h="520462">
                      <a:moveTo>
                        <a:pt x="9087374" y="0"/>
                      </a:moveTo>
                      <a:lnTo>
                        <a:pt x="9672932" y="462208"/>
                      </a:lnTo>
                      <a:lnTo>
                        <a:pt x="9626950" y="520462"/>
                      </a:lnTo>
                      <a:lnTo>
                        <a:pt x="0" y="520462"/>
                      </a:lnTo>
                      <a:lnTo>
                        <a:pt x="410824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4BF021C3-0ECA-D7D0-DA33-7B48FC4CF841}"/>
                    </a:ext>
                  </a:extLst>
                </p:cNvPr>
                <p:cNvSpPr/>
                <p:nvPr/>
              </p:nvSpPr>
              <p:spPr>
                <a:xfrm rot="19302863">
                  <a:off x="-1241084" y="6856472"/>
                  <a:ext cx="10041939" cy="520463"/>
                </a:xfrm>
                <a:custGeom>
                  <a:avLst/>
                  <a:gdLst>
                    <a:gd name="connsiteX0" fmla="*/ 10041939 w 10041939"/>
                    <a:gd name="connsiteY0" fmla="*/ 515185 h 520463"/>
                    <a:gd name="connsiteX1" fmla="*/ 10041939 w 10041939"/>
                    <a:gd name="connsiteY1" fmla="*/ 520462 h 520463"/>
                    <a:gd name="connsiteX2" fmla="*/ 10037773 w 10041939"/>
                    <a:gd name="connsiteY2" fmla="*/ 520462 h 520463"/>
                    <a:gd name="connsiteX3" fmla="*/ 10037773 w 10041939"/>
                    <a:gd name="connsiteY3" fmla="*/ 0 h 520463"/>
                    <a:gd name="connsiteX4" fmla="*/ 9626949 w 10041939"/>
                    <a:gd name="connsiteY4" fmla="*/ 520462 h 520463"/>
                    <a:gd name="connsiteX5" fmla="*/ 0 w 10041939"/>
                    <a:gd name="connsiteY5" fmla="*/ 520463 h 520463"/>
                    <a:gd name="connsiteX6" fmla="*/ 410824 w 10041939"/>
                    <a:gd name="connsiteY6" fmla="*/ 0 h 520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41939" h="520463">
                      <a:moveTo>
                        <a:pt x="10041939" y="515185"/>
                      </a:moveTo>
                      <a:lnTo>
                        <a:pt x="10041939" y="520462"/>
                      </a:lnTo>
                      <a:lnTo>
                        <a:pt x="10037773" y="520462"/>
                      </a:lnTo>
                      <a:close/>
                      <a:moveTo>
                        <a:pt x="10037773" y="0"/>
                      </a:moveTo>
                      <a:lnTo>
                        <a:pt x="9626949" y="520462"/>
                      </a:lnTo>
                      <a:lnTo>
                        <a:pt x="0" y="520463"/>
                      </a:lnTo>
                      <a:lnTo>
                        <a:pt x="410824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EFEC9566-52B6-AA5A-3049-3944A83CCF25}"/>
                    </a:ext>
                  </a:extLst>
                </p:cNvPr>
                <p:cNvSpPr/>
                <p:nvPr/>
              </p:nvSpPr>
              <p:spPr>
                <a:xfrm rot="19302863">
                  <a:off x="3933205" y="9320775"/>
                  <a:ext cx="4240533" cy="520462"/>
                </a:xfrm>
                <a:custGeom>
                  <a:avLst/>
                  <a:gdLst>
                    <a:gd name="connsiteX0" fmla="*/ 4240533 w 4240533"/>
                    <a:gd name="connsiteY0" fmla="*/ 0 h 520462"/>
                    <a:gd name="connsiteX1" fmla="*/ 3829709 w 4240533"/>
                    <a:gd name="connsiteY1" fmla="*/ 520462 h 520462"/>
                    <a:gd name="connsiteX2" fmla="*/ 659360 w 4240533"/>
                    <a:gd name="connsiteY2" fmla="*/ 520462 h 520462"/>
                    <a:gd name="connsiteX3" fmla="*/ 0 w 4240533"/>
                    <a:gd name="connsiteY3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0533" h="520462">
                      <a:moveTo>
                        <a:pt x="4240533" y="0"/>
                      </a:moveTo>
                      <a:lnTo>
                        <a:pt x="3829709" y="520462"/>
                      </a:lnTo>
                      <a:lnTo>
                        <a:pt x="659360" y="5204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1BF65C20-E1CA-8BAE-6D14-EEC9F129F3A1}"/>
                    </a:ext>
                  </a:extLst>
                </p:cNvPr>
                <p:cNvSpPr/>
                <p:nvPr/>
              </p:nvSpPr>
              <p:spPr>
                <a:xfrm rot="19302863">
                  <a:off x="-1240636" y="5400939"/>
                  <a:ext cx="10037775" cy="520463"/>
                </a:xfrm>
                <a:custGeom>
                  <a:avLst/>
                  <a:gdLst>
                    <a:gd name="connsiteX0" fmla="*/ 10037775 w 10037775"/>
                    <a:gd name="connsiteY0" fmla="*/ 0 h 520463"/>
                    <a:gd name="connsiteX1" fmla="*/ 9626951 w 10037775"/>
                    <a:gd name="connsiteY1" fmla="*/ 520462 h 520463"/>
                    <a:gd name="connsiteX2" fmla="*/ 0 w 10037775"/>
                    <a:gd name="connsiteY2" fmla="*/ 520463 h 520463"/>
                    <a:gd name="connsiteX3" fmla="*/ 410824 w 10037775"/>
                    <a:gd name="connsiteY3" fmla="*/ 0 h 520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37775" h="520463">
                      <a:moveTo>
                        <a:pt x="10037775" y="0"/>
                      </a:moveTo>
                      <a:lnTo>
                        <a:pt x="9626951" y="520462"/>
                      </a:lnTo>
                      <a:lnTo>
                        <a:pt x="0" y="520463"/>
                      </a:lnTo>
                      <a:lnTo>
                        <a:pt x="410824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98844288-F061-569A-2749-3EBBBF3FD77F}"/>
                    </a:ext>
                  </a:extLst>
                </p:cNvPr>
                <p:cNvSpPr/>
                <p:nvPr/>
              </p:nvSpPr>
              <p:spPr>
                <a:xfrm rot="19302863">
                  <a:off x="2027796" y="8659373"/>
                  <a:ext cx="6375524" cy="520462"/>
                </a:xfrm>
                <a:custGeom>
                  <a:avLst/>
                  <a:gdLst>
                    <a:gd name="connsiteX0" fmla="*/ 6375524 w 6375524"/>
                    <a:gd name="connsiteY0" fmla="*/ 0 h 520462"/>
                    <a:gd name="connsiteX1" fmla="*/ 5964700 w 6375524"/>
                    <a:gd name="connsiteY1" fmla="*/ 520462 h 520462"/>
                    <a:gd name="connsiteX2" fmla="*/ 659359 w 6375524"/>
                    <a:gd name="connsiteY2" fmla="*/ 520462 h 520462"/>
                    <a:gd name="connsiteX3" fmla="*/ 0 w 6375524"/>
                    <a:gd name="connsiteY3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75524" h="520462">
                      <a:moveTo>
                        <a:pt x="6375524" y="0"/>
                      </a:moveTo>
                      <a:lnTo>
                        <a:pt x="5964700" y="520462"/>
                      </a:lnTo>
                      <a:lnTo>
                        <a:pt x="659359" y="5204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E126F51A-0D13-C047-0E8D-407BC3B2DC5A}"/>
                    </a:ext>
                  </a:extLst>
                </p:cNvPr>
                <p:cNvSpPr/>
                <p:nvPr/>
              </p:nvSpPr>
              <p:spPr>
                <a:xfrm rot="19302863">
                  <a:off x="-1240636" y="3916976"/>
                  <a:ext cx="10037773" cy="520462"/>
                </a:xfrm>
                <a:custGeom>
                  <a:avLst/>
                  <a:gdLst>
                    <a:gd name="connsiteX0" fmla="*/ 10037773 w 10037773"/>
                    <a:gd name="connsiteY0" fmla="*/ 0 h 520462"/>
                    <a:gd name="connsiteX1" fmla="*/ 9626949 w 10037773"/>
                    <a:gd name="connsiteY1" fmla="*/ 520462 h 520462"/>
                    <a:gd name="connsiteX2" fmla="*/ 0 w 10037773"/>
                    <a:gd name="connsiteY2" fmla="*/ 520462 h 520462"/>
                    <a:gd name="connsiteX3" fmla="*/ 410824 w 10037773"/>
                    <a:gd name="connsiteY3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37773" h="520462">
                      <a:moveTo>
                        <a:pt x="10037773" y="0"/>
                      </a:moveTo>
                      <a:lnTo>
                        <a:pt x="9626949" y="520462"/>
                      </a:lnTo>
                      <a:lnTo>
                        <a:pt x="0" y="520462"/>
                      </a:lnTo>
                      <a:lnTo>
                        <a:pt x="410824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3BE7B234-589E-C093-68C3-0AF86268F43F}"/>
                    </a:ext>
                  </a:extLst>
                </p:cNvPr>
                <p:cNvSpPr/>
                <p:nvPr/>
              </p:nvSpPr>
              <p:spPr>
                <a:xfrm rot="19302863">
                  <a:off x="-109751" y="7917394"/>
                  <a:ext cx="8770627" cy="520462"/>
                </a:xfrm>
                <a:custGeom>
                  <a:avLst/>
                  <a:gdLst>
                    <a:gd name="connsiteX0" fmla="*/ 8770627 w 8770627"/>
                    <a:gd name="connsiteY0" fmla="*/ 0 h 520462"/>
                    <a:gd name="connsiteX1" fmla="*/ 8359803 w 8770627"/>
                    <a:gd name="connsiteY1" fmla="*/ 520462 h 520462"/>
                    <a:gd name="connsiteX2" fmla="*/ 659360 w 8770627"/>
                    <a:gd name="connsiteY2" fmla="*/ 520462 h 520462"/>
                    <a:gd name="connsiteX3" fmla="*/ 0 w 8770627"/>
                    <a:gd name="connsiteY3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70627" h="520462">
                      <a:moveTo>
                        <a:pt x="8770627" y="0"/>
                      </a:moveTo>
                      <a:lnTo>
                        <a:pt x="8359803" y="520462"/>
                      </a:lnTo>
                      <a:lnTo>
                        <a:pt x="659360" y="5204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B3A22692-3247-7C60-62ED-11FD6EB96822}"/>
                    </a:ext>
                  </a:extLst>
                </p:cNvPr>
                <p:cNvSpPr/>
                <p:nvPr/>
              </p:nvSpPr>
              <p:spPr>
                <a:xfrm rot="19302863">
                  <a:off x="6024974" y="10046865"/>
                  <a:ext cx="1896724" cy="520462"/>
                </a:xfrm>
                <a:custGeom>
                  <a:avLst/>
                  <a:gdLst>
                    <a:gd name="connsiteX0" fmla="*/ 1896724 w 1896724"/>
                    <a:gd name="connsiteY0" fmla="*/ 0 h 520462"/>
                    <a:gd name="connsiteX1" fmla="*/ 1485900 w 1896724"/>
                    <a:gd name="connsiteY1" fmla="*/ 520462 h 520462"/>
                    <a:gd name="connsiteX2" fmla="*/ 659360 w 1896724"/>
                    <a:gd name="connsiteY2" fmla="*/ 520462 h 520462"/>
                    <a:gd name="connsiteX3" fmla="*/ 0 w 1896724"/>
                    <a:gd name="connsiteY3" fmla="*/ 0 h 520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96724" h="520462">
                      <a:moveTo>
                        <a:pt x="1896724" y="0"/>
                      </a:moveTo>
                      <a:lnTo>
                        <a:pt x="1485900" y="520462"/>
                      </a:lnTo>
                      <a:lnTo>
                        <a:pt x="659360" y="5204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6134FB83-E5B5-AE1F-A7AA-AB7950A54F7B}"/>
                    </a:ext>
                  </a:extLst>
                </p:cNvPr>
                <p:cNvSpPr/>
                <p:nvPr/>
              </p:nvSpPr>
              <p:spPr>
                <a:xfrm rot="19302863">
                  <a:off x="-1915798" y="-921871"/>
                  <a:ext cx="7419980" cy="3608556"/>
                </a:xfrm>
                <a:custGeom>
                  <a:avLst/>
                  <a:gdLst>
                    <a:gd name="connsiteX0" fmla="*/ 7419980 w 7419980"/>
                    <a:gd name="connsiteY0" fmla="*/ 3608556 h 3608556"/>
                    <a:gd name="connsiteX1" fmla="*/ 0 w 7419980"/>
                    <a:gd name="connsiteY1" fmla="*/ 3608556 h 3608556"/>
                    <a:gd name="connsiteX2" fmla="*/ 2848396 w 7419980"/>
                    <a:gd name="connsiteY2" fmla="*/ 0 h 3608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19980" h="3608556">
                      <a:moveTo>
                        <a:pt x="7419980" y="3608556"/>
                      </a:moveTo>
                      <a:lnTo>
                        <a:pt x="0" y="3608556"/>
                      </a:lnTo>
                      <a:lnTo>
                        <a:pt x="2848396" y="0"/>
                      </a:lnTo>
                      <a:close/>
                    </a:path>
                  </a:pathLst>
                </a:custGeom>
                <a:solidFill>
                  <a:srgbClr val="0B4C82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89096BE2-3060-5F6D-593B-FAF0C1A9C2C4}"/>
                  </a:ext>
                </a:extLst>
              </p:cNvPr>
              <p:cNvGrpSpPr/>
              <p:nvPr/>
            </p:nvGrpSpPr>
            <p:grpSpPr>
              <a:xfrm>
                <a:off x="140242" y="136401"/>
                <a:ext cx="4403661" cy="3433108"/>
                <a:chOff x="140242" y="136401"/>
                <a:chExt cx="4403661" cy="3433108"/>
              </a:xfrm>
            </p:grpSpPr>
            <p:sp>
              <p:nvSpPr>
                <p:cNvPr id="24" name="Freeform 24"/>
                <p:cNvSpPr/>
                <p:nvPr/>
              </p:nvSpPr>
              <p:spPr>
                <a:xfrm rot="19028436">
                  <a:off x="1214983" y="136401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Freeform 26"/>
                <p:cNvSpPr/>
                <p:nvPr/>
              </p:nvSpPr>
              <p:spPr>
                <a:xfrm rot="19028436">
                  <a:off x="3320973" y="136401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Freeform 28"/>
                <p:cNvSpPr/>
                <p:nvPr/>
              </p:nvSpPr>
              <p:spPr>
                <a:xfrm rot="19028436">
                  <a:off x="2267978" y="136401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Freeform 30"/>
                <p:cNvSpPr/>
                <p:nvPr/>
              </p:nvSpPr>
              <p:spPr>
                <a:xfrm rot="19028436">
                  <a:off x="4373968" y="136401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Freeform 32"/>
                <p:cNvSpPr/>
                <p:nvPr/>
              </p:nvSpPr>
              <p:spPr>
                <a:xfrm rot="19028436">
                  <a:off x="140242" y="136401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" name="Freeform 34"/>
                <p:cNvSpPr/>
                <p:nvPr/>
              </p:nvSpPr>
              <p:spPr>
                <a:xfrm rot="19028436">
                  <a:off x="140242" y="1772149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Freeform 36"/>
                <p:cNvSpPr/>
                <p:nvPr/>
              </p:nvSpPr>
              <p:spPr>
                <a:xfrm rot="19028436">
                  <a:off x="140242" y="954275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8" name="Freeform 38"/>
                <p:cNvSpPr/>
                <p:nvPr/>
              </p:nvSpPr>
              <p:spPr>
                <a:xfrm rot="19028436">
                  <a:off x="140242" y="2590022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0" name="Freeform 40"/>
                <p:cNvSpPr/>
                <p:nvPr/>
              </p:nvSpPr>
              <p:spPr>
                <a:xfrm rot="19028436">
                  <a:off x="140242" y="3407896"/>
                  <a:ext cx="169935" cy="161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9430" h="1701800">
                      <a:moveTo>
                        <a:pt x="922020" y="21590"/>
                      </a:moveTo>
                      <a:lnTo>
                        <a:pt x="1172210" y="529590"/>
                      </a:lnTo>
                      <a:cubicBezTo>
                        <a:pt x="1176020" y="538480"/>
                        <a:pt x="1184910" y="544830"/>
                        <a:pt x="1195070" y="546100"/>
                      </a:cubicBezTo>
                      <a:lnTo>
                        <a:pt x="1755140" y="627380"/>
                      </a:lnTo>
                      <a:cubicBezTo>
                        <a:pt x="1779270" y="631190"/>
                        <a:pt x="1789430" y="661670"/>
                        <a:pt x="1771650" y="678180"/>
                      </a:cubicBezTo>
                      <a:lnTo>
                        <a:pt x="1366520" y="1073150"/>
                      </a:lnTo>
                      <a:cubicBezTo>
                        <a:pt x="1358900" y="1079500"/>
                        <a:pt x="1356360" y="1089660"/>
                        <a:pt x="1357630" y="1099820"/>
                      </a:cubicBezTo>
                      <a:lnTo>
                        <a:pt x="1452880" y="1658620"/>
                      </a:lnTo>
                      <a:cubicBezTo>
                        <a:pt x="1456690" y="1682750"/>
                        <a:pt x="1431290" y="1701800"/>
                        <a:pt x="1409700" y="1690370"/>
                      </a:cubicBezTo>
                      <a:lnTo>
                        <a:pt x="908050" y="1426210"/>
                      </a:lnTo>
                      <a:cubicBezTo>
                        <a:pt x="899160" y="1421130"/>
                        <a:pt x="889000" y="1421130"/>
                        <a:pt x="880110" y="1426210"/>
                      </a:cubicBezTo>
                      <a:lnTo>
                        <a:pt x="378460" y="1690370"/>
                      </a:lnTo>
                      <a:cubicBezTo>
                        <a:pt x="356870" y="1701800"/>
                        <a:pt x="331470" y="1682750"/>
                        <a:pt x="335280" y="1658620"/>
                      </a:cubicBezTo>
                      <a:lnTo>
                        <a:pt x="430530" y="1099820"/>
                      </a:lnTo>
                      <a:cubicBezTo>
                        <a:pt x="431800" y="1089660"/>
                        <a:pt x="429260" y="1080770"/>
                        <a:pt x="421640" y="1073150"/>
                      </a:cubicBezTo>
                      <a:lnTo>
                        <a:pt x="17780" y="678180"/>
                      </a:lnTo>
                      <a:cubicBezTo>
                        <a:pt x="0" y="660400"/>
                        <a:pt x="10160" y="631190"/>
                        <a:pt x="34290" y="627380"/>
                      </a:cubicBezTo>
                      <a:lnTo>
                        <a:pt x="594360" y="546100"/>
                      </a:lnTo>
                      <a:cubicBezTo>
                        <a:pt x="604520" y="544830"/>
                        <a:pt x="612140" y="538480"/>
                        <a:pt x="617220" y="529590"/>
                      </a:cubicBezTo>
                      <a:lnTo>
                        <a:pt x="867410" y="21590"/>
                      </a:lnTo>
                      <a:cubicBezTo>
                        <a:pt x="878840" y="0"/>
                        <a:pt x="910590" y="0"/>
                        <a:pt x="922020" y="2159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1" name="Freeform 21"/>
            <p:cNvSpPr/>
            <p:nvPr/>
          </p:nvSpPr>
          <p:spPr>
            <a:xfrm>
              <a:off x="455734" y="428381"/>
              <a:ext cx="6648532" cy="9685240"/>
            </a:xfrm>
            <a:prstGeom prst="roundRect">
              <a:avLst>
                <a:gd name="adj" fmla="val 2248"/>
              </a:avLst>
            </a:prstGeom>
            <a:solidFill>
              <a:srgbClr val="FFFFFF"/>
            </a:solidFill>
            <a:ln w="6350" cap="sq">
              <a:solidFill>
                <a:srgbClr val="9B0A11"/>
              </a:solidFill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CC66177-4C99-1400-5196-E038643336E1}"/>
                </a:ext>
              </a:extLst>
            </p:cNvPr>
            <p:cNvGrpSpPr/>
            <p:nvPr/>
          </p:nvGrpSpPr>
          <p:grpSpPr>
            <a:xfrm>
              <a:off x="804700" y="3718077"/>
              <a:ext cx="5950600" cy="5999838"/>
              <a:chOff x="804700" y="3718077"/>
              <a:chExt cx="5950600" cy="5999838"/>
            </a:xfrm>
          </p:grpSpPr>
          <p:sp>
            <p:nvSpPr>
              <p:cNvPr id="55" name="AutoShape 55"/>
              <p:cNvSpPr/>
              <p:nvPr/>
            </p:nvSpPr>
            <p:spPr>
              <a:xfrm>
                <a:off x="804700" y="371807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6" name="AutoShape 56"/>
              <p:cNvSpPr/>
              <p:nvPr/>
            </p:nvSpPr>
            <p:spPr>
              <a:xfrm>
                <a:off x="2875280" y="371807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4945860" y="371807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8" name="AutoShape 58"/>
              <p:cNvSpPr/>
              <p:nvPr/>
            </p:nvSpPr>
            <p:spPr>
              <a:xfrm>
                <a:off x="804700" y="414663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" name="AutoShape 59"/>
              <p:cNvSpPr/>
              <p:nvPr/>
            </p:nvSpPr>
            <p:spPr>
              <a:xfrm>
                <a:off x="2875280" y="414663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" name="AutoShape 60"/>
              <p:cNvSpPr/>
              <p:nvPr/>
            </p:nvSpPr>
            <p:spPr>
              <a:xfrm>
                <a:off x="4945860" y="414663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1" name="AutoShape 61"/>
              <p:cNvSpPr/>
              <p:nvPr/>
            </p:nvSpPr>
            <p:spPr>
              <a:xfrm>
                <a:off x="804700" y="457519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2" name="AutoShape 62"/>
              <p:cNvSpPr/>
              <p:nvPr/>
            </p:nvSpPr>
            <p:spPr>
              <a:xfrm>
                <a:off x="2875280" y="457519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3" name="AutoShape 63"/>
              <p:cNvSpPr/>
              <p:nvPr/>
            </p:nvSpPr>
            <p:spPr>
              <a:xfrm>
                <a:off x="4945860" y="4575197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4" name="AutoShape 64"/>
              <p:cNvSpPr/>
              <p:nvPr/>
            </p:nvSpPr>
            <p:spPr>
              <a:xfrm>
                <a:off x="804700" y="50037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" name="AutoShape 65"/>
              <p:cNvSpPr/>
              <p:nvPr/>
            </p:nvSpPr>
            <p:spPr>
              <a:xfrm>
                <a:off x="2875280" y="50037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6" name="AutoShape 66"/>
              <p:cNvSpPr/>
              <p:nvPr/>
            </p:nvSpPr>
            <p:spPr>
              <a:xfrm>
                <a:off x="4945860" y="50037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7" name="AutoShape 67"/>
              <p:cNvSpPr/>
              <p:nvPr/>
            </p:nvSpPr>
            <p:spPr>
              <a:xfrm>
                <a:off x="804700" y="54323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8" name="AutoShape 68"/>
              <p:cNvSpPr/>
              <p:nvPr/>
            </p:nvSpPr>
            <p:spPr>
              <a:xfrm>
                <a:off x="2875280" y="54323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9" name="AutoShape 69"/>
              <p:cNvSpPr/>
              <p:nvPr/>
            </p:nvSpPr>
            <p:spPr>
              <a:xfrm>
                <a:off x="4945860" y="54323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0" name="AutoShape 70"/>
              <p:cNvSpPr/>
              <p:nvPr/>
            </p:nvSpPr>
            <p:spPr>
              <a:xfrm>
                <a:off x="804700" y="58608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1" name="AutoShape 71"/>
              <p:cNvSpPr/>
              <p:nvPr/>
            </p:nvSpPr>
            <p:spPr>
              <a:xfrm>
                <a:off x="2875280" y="58608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2" name="AutoShape 72"/>
              <p:cNvSpPr/>
              <p:nvPr/>
            </p:nvSpPr>
            <p:spPr>
              <a:xfrm>
                <a:off x="4945860" y="58608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3" name="AutoShape 73"/>
              <p:cNvSpPr/>
              <p:nvPr/>
            </p:nvSpPr>
            <p:spPr>
              <a:xfrm>
                <a:off x="804700" y="628943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4" name="AutoShape 74"/>
              <p:cNvSpPr/>
              <p:nvPr/>
            </p:nvSpPr>
            <p:spPr>
              <a:xfrm>
                <a:off x="2875280" y="628943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5" name="AutoShape 75"/>
              <p:cNvSpPr/>
              <p:nvPr/>
            </p:nvSpPr>
            <p:spPr>
              <a:xfrm>
                <a:off x="4945860" y="628943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6" name="AutoShape 76"/>
              <p:cNvSpPr/>
              <p:nvPr/>
            </p:nvSpPr>
            <p:spPr>
              <a:xfrm>
                <a:off x="804700" y="671799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7" name="AutoShape 77"/>
              <p:cNvSpPr/>
              <p:nvPr/>
            </p:nvSpPr>
            <p:spPr>
              <a:xfrm>
                <a:off x="2875280" y="671799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8" name="AutoShape 78"/>
              <p:cNvSpPr/>
              <p:nvPr/>
            </p:nvSpPr>
            <p:spPr>
              <a:xfrm>
                <a:off x="4945860" y="671799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9" name="AutoShape 79"/>
              <p:cNvSpPr/>
              <p:nvPr/>
            </p:nvSpPr>
            <p:spPr>
              <a:xfrm>
                <a:off x="804700" y="71465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2875280" y="71465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1" name="AutoShape 81"/>
              <p:cNvSpPr/>
              <p:nvPr/>
            </p:nvSpPr>
            <p:spPr>
              <a:xfrm>
                <a:off x="4945860" y="714655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2" name="AutoShape 82"/>
              <p:cNvSpPr/>
              <p:nvPr/>
            </p:nvSpPr>
            <p:spPr>
              <a:xfrm>
                <a:off x="804700" y="75751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" name="AutoShape 83"/>
              <p:cNvSpPr/>
              <p:nvPr/>
            </p:nvSpPr>
            <p:spPr>
              <a:xfrm>
                <a:off x="2875280" y="75751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4" name="AutoShape 84"/>
              <p:cNvSpPr/>
              <p:nvPr/>
            </p:nvSpPr>
            <p:spPr>
              <a:xfrm>
                <a:off x="4945860" y="757511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5" name="AutoShape 85"/>
              <p:cNvSpPr/>
              <p:nvPr/>
            </p:nvSpPr>
            <p:spPr>
              <a:xfrm>
                <a:off x="804700" y="80036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6" name="AutoShape 86"/>
              <p:cNvSpPr/>
              <p:nvPr/>
            </p:nvSpPr>
            <p:spPr>
              <a:xfrm>
                <a:off x="2875280" y="80036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7" name="AutoShape 87"/>
              <p:cNvSpPr/>
              <p:nvPr/>
            </p:nvSpPr>
            <p:spPr>
              <a:xfrm>
                <a:off x="4945860" y="8003676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8" name="AutoShape 88"/>
              <p:cNvSpPr/>
              <p:nvPr/>
            </p:nvSpPr>
            <p:spPr>
              <a:xfrm>
                <a:off x="804700" y="843223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9" name="AutoShape 89"/>
              <p:cNvSpPr/>
              <p:nvPr/>
            </p:nvSpPr>
            <p:spPr>
              <a:xfrm>
                <a:off x="2875280" y="843223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0" name="AutoShape 90"/>
              <p:cNvSpPr/>
              <p:nvPr/>
            </p:nvSpPr>
            <p:spPr>
              <a:xfrm>
                <a:off x="4945860" y="843223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1" name="AutoShape 91"/>
              <p:cNvSpPr/>
              <p:nvPr/>
            </p:nvSpPr>
            <p:spPr>
              <a:xfrm>
                <a:off x="804700" y="886079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2" name="AutoShape 92"/>
              <p:cNvSpPr/>
              <p:nvPr/>
            </p:nvSpPr>
            <p:spPr>
              <a:xfrm>
                <a:off x="2875280" y="886079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3" name="AutoShape 93"/>
              <p:cNvSpPr/>
              <p:nvPr/>
            </p:nvSpPr>
            <p:spPr>
              <a:xfrm>
                <a:off x="4945860" y="886079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4" name="AutoShape 94"/>
              <p:cNvSpPr/>
              <p:nvPr/>
            </p:nvSpPr>
            <p:spPr>
              <a:xfrm>
                <a:off x="804700" y="928935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5" name="AutoShape 95"/>
              <p:cNvSpPr/>
              <p:nvPr/>
            </p:nvSpPr>
            <p:spPr>
              <a:xfrm>
                <a:off x="2875280" y="928935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6" name="AutoShape 96"/>
              <p:cNvSpPr/>
              <p:nvPr/>
            </p:nvSpPr>
            <p:spPr>
              <a:xfrm>
                <a:off x="4945860" y="928935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7" name="AutoShape 97"/>
              <p:cNvSpPr/>
              <p:nvPr/>
            </p:nvSpPr>
            <p:spPr>
              <a:xfrm>
                <a:off x="804700" y="971791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8" name="AutoShape 98"/>
              <p:cNvSpPr/>
              <p:nvPr/>
            </p:nvSpPr>
            <p:spPr>
              <a:xfrm>
                <a:off x="2875280" y="971791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9" name="AutoShape 99"/>
              <p:cNvSpPr/>
              <p:nvPr/>
            </p:nvSpPr>
            <p:spPr>
              <a:xfrm>
                <a:off x="4945860" y="9717915"/>
                <a:ext cx="1809440" cy="0"/>
              </a:xfrm>
              <a:prstGeom prst="line">
                <a:avLst/>
              </a:prstGeom>
              <a:ln w="6350" cap="rnd">
                <a:solidFill>
                  <a:srgbClr val="9B0A11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B99DC5C-304A-37EA-1334-54A1AA652196}"/>
                </a:ext>
              </a:extLst>
            </p:cNvPr>
            <p:cNvGrpSpPr/>
            <p:nvPr/>
          </p:nvGrpSpPr>
          <p:grpSpPr>
            <a:xfrm>
              <a:off x="804700" y="2920661"/>
              <a:ext cx="5950600" cy="401440"/>
              <a:chOff x="804700" y="2920661"/>
              <a:chExt cx="5950600" cy="401440"/>
            </a:xfrm>
          </p:grpSpPr>
          <p:sp>
            <p:nvSpPr>
              <p:cNvPr id="101" name="Freeform 101"/>
              <p:cNvSpPr/>
              <p:nvPr/>
            </p:nvSpPr>
            <p:spPr>
              <a:xfrm>
                <a:off x="804700" y="2920661"/>
                <a:ext cx="1809440" cy="401440"/>
              </a:xfrm>
              <a:prstGeom prst="roundRect">
                <a:avLst>
                  <a:gd name="adj" fmla="val 30310"/>
                </a:avLst>
              </a:prstGeom>
              <a:solidFill>
                <a:srgbClr val="0B4C82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4" name="Freeform 104"/>
              <p:cNvSpPr/>
              <p:nvPr/>
            </p:nvSpPr>
            <p:spPr>
              <a:xfrm>
                <a:off x="2875280" y="2920661"/>
                <a:ext cx="1809440" cy="401440"/>
              </a:xfrm>
              <a:prstGeom prst="roundRect">
                <a:avLst>
                  <a:gd name="adj" fmla="val 29717"/>
                </a:avLst>
              </a:prstGeom>
              <a:solidFill>
                <a:srgbClr val="0B4C82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7" name="Freeform 107"/>
              <p:cNvSpPr/>
              <p:nvPr/>
            </p:nvSpPr>
            <p:spPr>
              <a:xfrm>
                <a:off x="4945860" y="2920661"/>
                <a:ext cx="1809440" cy="401440"/>
              </a:xfrm>
              <a:prstGeom prst="roundRect">
                <a:avLst>
                  <a:gd name="adj" fmla="val 29717"/>
                </a:avLst>
              </a:prstGeom>
              <a:solidFill>
                <a:srgbClr val="0B4C82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8" name="TextBox 118"/>
              <p:cNvSpPr txBox="1"/>
              <p:nvPr/>
            </p:nvSpPr>
            <p:spPr>
              <a:xfrm>
                <a:off x="1126617" y="3044512"/>
                <a:ext cx="1165606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FFFFFF"/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NAME</a:t>
                </a:r>
              </a:p>
            </p:txBody>
          </p:sp>
          <p:sp>
            <p:nvSpPr>
              <p:cNvPr id="119" name="TextBox 119"/>
              <p:cNvSpPr txBox="1"/>
              <p:nvPr/>
            </p:nvSpPr>
            <p:spPr>
              <a:xfrm>
                <a:off x="3197197" y="3044512"/>
                <a:ext cx="1165606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FFFFFF"/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PHONE</a:t>
                </a:r>
              </a:p>
            </p:txBody>
          </p:sp>
          <p:sp>
            <p:nvSpPr>
              <p:cNvPr id="120" name="TextBox 120"/>
              <p:cNvSpPr txBox="1"/>
              <p:nvPr/>
            </p:nvSpPr>
            <p:spPr>
              <a:xfrm>
                <a:off x="5267777" y="3044512"/>
                <a:ext cx="1165606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FFFFFF"/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WILL BRING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C58E988-6273-6F34-4CD8-A4569285F572}"/>
                </a:ext>
              </a:extLst>
            </p:cNvPr>
            <p:cNvGrpSpPr/>
            <p:nvPr/>
          </p:nvGrpSpPr>
          <p:grpSpPr>
            <a:xfrm>
              <a:off x="793726" y="2231616"/>
              <a:ext cx="5961574" cy="450920"/>
              <a:chOff x="793726" y="2231616"/>
              <a:chExt cx="5961574" cy="450920"/>
            </a:xfrm>
          </p:grpSpPr>
          <p:sp>
            <p:nvSpPr>
              <p:cNvPr id="47" name="AutoShape 47"/>
              <p:cNvSpPr/>
              <p:nvPr/>
            </p:nvSpPr>
            <p:spPr>
              <a:xfrm>
                <a:off x="793726" y="2673011"/>
                <a:ext cx="5961574" cy="9525"/>
              </a:xfrm>
              <a:prstGeom prst="line">
                <a:avLst/>
              </a:prstGeom>
              <a:ln w="6350" cap="flat">
                <a:solidFill>
                  <a:srgbClr val="9B0A11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8" name="AutoShape 48"/>
              <p:cNvSpPr/>
              <p:nvPr/>
            </p:nvSpPr>
            <p:spPr>
              <a:xfrm>
                <a:off x="793726" y="2231616"/>
                <a:ext cx="5961574" cy="0"/>
              </a:xfrm>
              <a:prstGeom prst="line">
                <a:avLst/>
              </a:prstGeom>
              <a:ln w="6350" cap="flat">
                <a:solidFill>
                  <a:srgbClr val="9B0A11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84F78A24-C1D6-187B-1FEF-0B61B9C782AA}"/>
                  </a:ext>
                </a:extLst>
              </p:cNvPr>
              <p:cNvGrpSpPr/>
              <p:nvPr/>
            </p:nvGrpSpPr>
            <p:grpSpPr>
              <a:xfrm>
                <a:off x="865253" y="2375209"/>
                <a:ext cx="5818521" cy="154209"/>
                <a:chOff x="865253" y="2375209"/>
                <a:chExt cx="5818521" cy="154209"/>
              </a:xfrm>
            </p:grpSpPr>
            <p:sp>
              <p:nvSpPr>
                <p:cNvPr id="50" name="Freeform 50"/>
                <p:cNvSpPr/>
                <p:nvPr/>
              </p:nvSpPr>
              <p:spPr>
                <a:xfrm>
                  <a:off x="2528601" y="2430652"/>
                  <a:ext cx="43323" cy="433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3" name="Freeform 53"/>
                <p:cNvSpPr/>
                <p:nvPr/>
              </p:nvSpPr>
              <p:spPr>
                <a:xfrm>
                  <a:off x="5031729" y="2430652"/>
                  <a:ext cx="43323" cy="433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B0A11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5" name="TextBox 115"/>
                <p:cNvSpPr txBox="1"/>
                <p:nvPr/>
              </p:nvSpPr>
              <p:spPr>
                <a:xfrm>
                  <a:off x="2864307" y="2375209"/>
                  <a:ext cx="1820414" cy="154209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lvl="1" indent="0" algn="ctr">
                    <a:spcBef>
                      <a:spcPct val="0"/>
                    </a:spcBef>
                  </a:pPr>
                  <a:r>
                    <a:rPr lang="en-US" sz="1002" b="1" u="none" strike="noStrike" dirty="0">
                      <a:solidFill>
                        <a:srgbClr val="C60C0F"/>
                      </a:solidFill>
                      <a:latin typeface="Public Sans" pitchFamily="2" charset="0"/>
                      <a:ea typeface="Public Sans Bold"/>
                      <a:cs typeface="Public Sans Bold"/>
                      <a:sym typeface="Public Sans Bold"/>
                    </a:rPr>
                    <a:t>THURSDAY JULY 4TH, 2030</a:t>
                  </a:r>
                </a:p>
              </p:txBody>
            </p:sp>
            <p:sp>
              <p:nvSpPr>
                <p:cNvPr id="116" name="TextBox 116"/>
                <p:cNvSpPr txBox="1"/>
                <p:nvPr/>
              </p:nvSpPr>
              <p:spPr>
                <a:xfrm>
                  <a:off x="865253" y="2375209"/>
                  <a:ext cx="1504857" cy="15420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spcBef>
                      <a:spcPct val="0"/>
                    </a:spcBef>
                  </a:pPr>
                  <a:r>
                    <a:rPr lang="en-US" sz="1002" b="1" u="none" strike="noStrike" dirty="0">
                      <a:solidFill>
                        <a:srgbClr val="C60C0F"/>
                      </a:solidFill>
                      <a:latin typeface="Public Sans" pitchFamily="2" charset="0"/>
                      <a:ea typeface="Public Sans Bold"/>
                      <a:cs typeface="Public Sans Bold"/>
                      <a:sym typeface="Public Sans Bold"/>
                    </a:rPr>
                    <a:t>4:00 PM - 8:00 PM</a:t>
                  </a:r>
                </a:p>
              </p:txBody>
            </p:sp>
            <p:sp>
              <p:nvSpPr>
                <p:cNvPr id="117" name="TextBox 117"/>
                <p:cNvSpPr txBox="1"/>
                <p:nvPr/>
              </p:nvSpPr>
              <p:spPr>
                <a:xfrm>
                  <a:off x="5178917" y="2375209"/>
                  <a:ext cx="1504857" cy="15420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spcBef>
                      <a:spcPct val="0"/>
                    </a:spcBef>
                  </a:pPr>
                  <a:r>
                    <a:rPr lang="en-US" sz="1002" b="1" dirty="0">
                      <a:solidFill>
                        <a:srgbClr val="C60C0F"/>
                      </a:solidFill>
                      <a:latin typeface="Public Sans" pitchFamily="2" charset="0"/>
                      <a:ea typeface="Public Sans Bold"/>
                      <a:cs typeface="Public Sans Bold"/>
                      <a:sym typeface="Public Sans Bold"/>
                    </a:rPr>
                    <a:t>CENTRAL PARK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436C56F-C321-745E-01DF-8B8555E5AAF3}"/>
                </a:ext>
              </a:extLst>
            </p:cNvPr>
            <p:cNvGrpSpPr/>
            <p:nvPr/>
          </p:nvGrpSpPr>
          <p:grpSpPr>
            <a:xfrm>
              <a:off x="793726" y="702772"/>
              <a:ext cx="5961574" cy="1285957"/>
              <a:chOff x="793726" y="702772"/>
              <a:chExt cx="5961574" cy="1285957"/>
            </a:xfrm>
          </p:grpSpPr>
          <p:sp>
            <p:nvSpPr>
              <p:cNvPr id="41" name="Freeform 41"/>
              <p:cNvSpPr/>
              <p:nvPr/>
            </p:nvSpPr>
            <p:spPr>
              <a:xfrm>
                <a:off x="2414462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5" y="0"/>
                    </a:lnTo>
                    <a:lnTo>
                      <a:pt x="169065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Freeform 42"/>
              <p:cNvSpPr/>
              <p:nvPr/>
            </p:nvSpPr>
            <p:spPr>
              <a:xfrm>
                <a:off x="2700603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6" y="0"/>
                    </a:lnTo>
                    <a:lnTo>
                      <a:pt x="169066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Freeform 43"/>
              <p:cNvSpPr/>
              <p:nvPr/>
            </p:nvSpPr>
            <p:spPr>
              <a:xfrm>
                <a:off x="2986745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6" y="0"/>
                    </a:lnTo>
                    <a:lnTo>
                      <a:pt x="169066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Freeform 44"/>
              <p:cNvSpPr/>
              <p:nvPr/>
            </p:nvSpPr>
            <p:spPr>
              <a:xfrm>
                <a:off x="4404189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6" y="0"/>
                    </a:lnTo>
                    <a:lnTo>
                      <a:pt x="169066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Freeform 45"/>
              <p:cNvSpPr/>
              <p:nvPr/>
            </p:nvSpPr>
            <p:spPr>
              <a:xfrm>
                <a:off x="4690331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6" y="0"/>
                    </a:lnTo>
                    <a:lnTo>
                      <a:pt x="169066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6" name="Freeform 46"/>
              <p:cNvSpPr/>
              <p:nvPr/>
            </p:nvSpPr>
            <p:spPr>
              <a:xfrm>
                <a:off x="4976473" y="716015"/>
                <a:ext cx="169066" cy="156155"/>
              </a:xfrm>
              <a:custGeom>
                <a:avLst/>
                <a:gdLst/>
                <a:ahLst/>
                <a:cxnLst/>
                <a:rect l="l" t="t" r="r" b="b"/>
                <a:pathLst>
                  <a:path w="169066" h="156155">
                    <a:moveTo>
                      <a:pt x="0" y="0"/>
                    </a:moveTo>
                    <a:lnTo>
                      <a:pt x="169065" y="0"/>
                    </a:lnTo>
                    <a:lnTo>
                      <a:pt x="169065" y="156155"/>
                    </a:lnTo>
                    <a:lnTo>
                      <a:pt x="0" y="1561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0" name="Freeform 110"/>
              <p:cNvSpPr/>
              <p:nvPr/>
            </p:nvSpPr>
            <p:spPr>
              <a:xfrm>
                <a:off x="793726" y="702772"/>
                <a:ext cx="1376661" cy="1285957"/>
              </a:xfrm>
              <a:custGeom>
                <a:avLst/>
                <a:gdLst/>
                <a:ahLst/>
                <a:cxnLst/>
                <a:rect l="l" t="t" r="r" b="b"/>
                <a:pathLst>
                  <a:path w="1376661" h="1285957">
                    <a:moveTo>
                      <a:pt x="0" y="0"/>
                    </a:moveTo>
                    <a:lnTo>
                      <a:pt x="1376662" y="0"/>
                    </a:lnTo>
                    <a:lnTo>
                      <a:pt x="1376662" y="1285957"/>
                    </a:lnTo>
                    <a:lnTo>
                      <a:pt x="0" y="128595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1" name="Freeform 111"/>
              <p:cNvSpPr/>
              <p:nvPr/>
            </p:nvSpPr>
            <p:spPr>
              <a:xfrm>
                <a:off x="5378639" y="702772"/>
                <a:ext cx="1376661" cy="1285957"/>
              </a:xfrm>
              <a:custGeom>
                <a:avLst/>
                <a:gdLst/>
                <a:ahLst/>
                <a:cxnLst/>
                <a:rect l="l" t="t" r="r" b="b"/>
                <a:pathLst>
                  <a:path w="1376661" h="1285957">
                    <a:moveTo>
                      <a:pt x="0" y="0"/>
                    </a:moveTo>
                    <a:lnTo>
                      <a:pt x="1376661" y="0"/>
                    </a:lnTo>
                    <a:lnTo>
                      <a:pt x="1376661" y="1285957"/>
                    </a:lnTo>
                    <a:lnTo>
                      <a:pt x="0" y="128595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2" name="TextBox 112"/>
              <p:cNvSpPr txBox="1"/>
              <p:nvPr/>
            </p:nvSpPr>
            <p:spPr>
              <a:xfrm>
                <a:off x="3086070" y="715546"/>
                <a:ext cx="1387860" cy="15709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000" b="1" spc="-51" dirty="0">
                    <a:solidFill>
                      <a:srgbClr val="0B4C82">
                        <a:alpha val="80000"/>
                      </a:srgbClr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SIGN UP SHEET</a:t>
                </a:r>
              </a:p>
            </p:txBody>
          </p:sp>
          <p:sp>
            <p:nvSpPr>
              <p:cNvPr id="113" name="TextBox 113"/>
              <p:cNvSpPr txBox="1"/>
              <p:nvPr/>
            </p:nvSpPr>
            <p:spPr>
              <a:xfrm>
                <a:off x="2288723" y="909374"/>
                <a:ext cx="2979054" cy="58830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3800" b="1" spc="-191" dirty="0">
                    <a:solidFill>
                      <a:srgbClr val="C60C0F"/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4TH OF JULY</a:t>
                </a:r>
              </a:p>
            </p:txBody>
          </p:sp>
          <p:sp>
            <p:nvSpPr>
              <p:cNvPr id="114" name="TextBox 114"/>
              <p:cNvSpPr txBox="1"/>
              <p:nvPr/>
            </p:nvSpPr>
            <p:spPr>
              <a:xfrm>
                <a:off x="2103600" y="1398609"/>
                <a:ext cx="3349300" cy="560025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3650" b="1" spc="-181" dirty="0">
                    <a:solidFill>
                      <a:srgbClr val="0B4C82"/>
                    </a:solidFill>
                    <a:latin typeface="Public Sans" pitchFamily="2" charset="0"/>
                    <a:ea typeface="Public Sans Bold"/>
                    <a:cs typeface="Public Sans Bold"/>
                    <a:sym typeface="Public Sans Bold"/>
                  </a:rPr>
                  <a:t>POTLUCK</a:t>
                </a:r>
              </a:p>
            </p:txBody>
          </p:sp>
        </p:grpSp>
        <p:sp>
          <p:nvSpPr>
            <p:cNvPr id="109" name="QuickSignup"/>
            <p:cNvSpPr/>
            <p:nvPr/>
          </p:nvSpPr>
          <p:spPr>
            <a:xfrm>
              <a:off x="3449549" y="9869393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4"/>
                  </a:lnTo>
                  <a:lnTo>
                    <a:pt x="0" y="1332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6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23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Public Sans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th of July Potluck, Easter Potluck, Valentines Day (Portrait)</dc:title>
  <dc:creator>Hoang Anh</dc:creator>
  <cp:lastModifiedBy>Hoang Anh</cp:lastModifiedBy>
  <cp:revision>65</cp:revision>
  <dcterms:created xsi:type="dcterms:W3CDTF">2006-08-16T00:00:00Z</dcterms:created>
  <dcterms:modified xsi:type="dcterms:W3CDTF">2024-11-16T04:05:16Z</dcterms:modified>
  <dc:identifier>DAGWIjmVvdU</dc:identifier>
</cp:coreProperties>
</file>